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050096656" r:id="rId2"/>
    <p:sldId id="2050096657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1" d="100"/>
          <a:sy n="81" d="100"/>
        </p:scale>
        <p:origin x="62" y="16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B31CEA-54FD-4371-BCC9-FF802E5681BB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F49459-55F4-4A0D-A9DC-40D80534A57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1576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71B31C-7CB3-40AD-AB43-535EF282E781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595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78DC52-BF7F-4D49-8C6D-B78B65BF16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F8F779-BE6E-422C-9D26-9B5FFDCEB5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7413E6-B8EF-4067-A8A8-C23DEF6E27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55E8-FCF0-4C64-AECF-C45C4DCC4707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802729-5BDA-4FEB-8FD1-3CF5BD44A3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3F21F1-97C0-4AF2-9990-BD9EEF78EB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07A76-7DB4-4256-8149-66FFAA0E0B6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616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05A48-32A6-462F-9738-D5FC975284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C0B48C-4280-44B3-8BC0-8A422E0BE7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8ED921-2184-47BE-A852-0913F454A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55E8-FCF0-4C64-AECF-C45C4DCC4707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6E3773-483E-4C0D-B1B3-9575DD14C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26EF5-479E-4AD7-8E72-7E4EFBF38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07A76-7DB4-4256-8149-66FFAA0E0B6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2509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C57DC5-5449-4734-A67D-959590FC7E3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AB8A9C2-1328-4048-9048-CD01734D18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7644AE-4118-4172-9E91-30BB55EC09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55E8-FCF0-4C64-AECF-C45C4DCC4707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5FB6BF-B313-4AD6-9262-D52C23043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888DA3-83C0-4A79-B5AF-FCED6402C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07A76-7DB4-4256-8149-66FFAA0E0B6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2971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3D1C78-98A0-4E88-AADE-A821013C6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4518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3D1C78-98A0-4E88-AADE-A821013C68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EFC5E8-F623-4135-8A9A-1274E07754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cxnSp>
        <p:nvCxnSpPr>
          <p:cNvPr id="3" name="Conector reto 2">
            <a:extLst>
              <a:ext uri="{FF2B5EF4-FFF2-40B4-BE49-F238E27FC236}">
                <a16:creationId xmlns:a16="http://schemas.microsoft.com/office/drawing/2014/main" id="{E9005124-88ED-45E9-9F8B-9FAA1534C86F}"/>
              </a:ext>
            </a:extLst>
          </p:cNvPr>
          <p:cNvCxnSpPr>
            <a:cxnSpLocks/>
          </p:cNvCxnSpPr>
          <p:nvPr userDrawn="1"/>
        </p:nvCxnSpPr>
        <p:spPr>
          <a:xfrm rot="10800000" flipH="1">
            <a:off x="6533904" y="61556"/>
            <a:ext cx="5683149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>
            <a:extLst>
              <a:ext uri="{FF2B5EF4-FFF2-40B4-BE49-F238E27FC236}">
                <a16:creationId xmlns:a16="http://schemas.microsoft.com/office/drawing/2014/main" id="{253650D2-8798-45F0-8316-99DF7A1BF705}"/>
              </a:ext>
            </a:extLst>
          </p:cNvPr>
          <p:cNvCxnSpPr>
            <a:cxnSpLocks/>
          </p:cNvCxnSpPr>
          <p:nvPr userDrawn="1"/>
        </p:nvCxnSpPr>
        <p:spPr>
          <a:xfrm>
            <a:off x="576198" y="6567014"/>
            <a:ext cx="10556430" cy="0"/>
          </a:xfrm>
          <a:prstGeom prst="line">
            <a:avLst/>
          </a:prstGeom>
          <a:ln w="12700">
            <a:solidFill>
              <a:srgbClr val="5255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 11">
            <a:extLst>
              <a:ext uri="{FF2B5EF4-FFF2-40B4-BE49-F238E27FC236}">
                <a16:creationId xmlns:a16="http://schemas.microsoft.com/office/drawing/2014/main" id="{4A3894CD-4A54-43A1-97E5-BD2D3E0B118D}"/>
              </a:ext>
            </a:extLst>
          </p:cNvPr>
          <p:cNvSpPr/>
          <p:nvPr userDrawn="1"/>
        </p:nvSpPr>
        <p:spPr>
          <a:xfrm rot="16200000">
            <a:off x="6030190" y="696166"/>
            <a:ext cx="131621" cy="12192003"/>
          </a:xfrm>
          <a:prstGeom prst="rect">
            <a:avLst/>
          </a:prstGeom>
          <a:solidFill>
            <a:srgbClr val="5255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9">
            <a:extLst>
              <a:ext uri="{FF2B5EF4-FFF2-40B4-BE49-F238E27FC236}">
                <a16:creationId xmlns:a16="http://schemas.microsoft.com/office/drawing/2014/main" id="{EFED78C4-10DC-45DC-B9C3-61619EDAAEA2}"/>
              </a:ext>
            </a:extLst>
          </p:cNvPr>
          <p:cNvSpPr/>
          <p:nvPr userDrawn="1"/>
        </p:nvSpPr>
        <p:spPr>
          <a:xfrm rot="16200000">
            <a:off x="11671430" y="6206839"/>
            <a:ext cx="67725" cy="97341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1072F0C4-13AE-4273-BC7F-3D8E5B6EDD1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1259" y="6240518"/>
            <a:ext cx="864200" cy="415298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FCDE5CC3-E502-426F-9751-69F63D9708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6" y="70433"/>
            <a:ext cx="12168000" cy="438798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rgbClr val="DA042C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59B565F0-C041-4996-B359-6C1AF20240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6" y="535863"/>
            <a:ext cx="12168000" cy="438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0" dirty="0" smtClean="0">
                <a:solidFill>
                  <a:srgbClr val="DA042C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133841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9205C-B529-4BC0-A9AB-464158828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6681AF-CB6F-4D1A-ADEB-2AB7577931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F338E1-B007-4EC5-848E-CA62678EF2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55E8-FCF0-4C64-AECF-C45C4DCC4707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59C3C-4725-4302-9088-DBCCE6C9D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00578A-F599-4D95-93D6-0A98F7B88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07A76-7DB4-4256-8149-66FFAA0E0B6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8001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52496C-D77B-4CEC-AC07-AA35A11108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3CD6B2-927C-4E99-9CFC-F889A9C43A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233DDB-4612-4891-B80C-36D746771F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55E8-FCF0-4C64-AECF-C45C4DCC4707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331FB-01FA-4567-B0E1-C79AD3FD2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44E0D7-629F-4297-A1AB-5C29EB9A3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07A76-7DB4-4256-8149-66FFAA0E0B6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0744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90BF2E-0A61-47D2-94C3-1CEC37728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A06C5-DE33-4BF5-BF17-EEA5E45B01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DD798C-DC9A-4818-8D32-A3FE3DE738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ED7DAC-FAAB-4E5F-BD0F-3F67E7A7A3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55E8-FCF0-4C64-AECF-C45C4DCC4707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04FDA6-73F8-4F71-8A21-8E37DCCBE6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4F8337-F6F3-44F1-B6A1-A37C7EF0ED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07A76-7DB4-4256-8149-66FFAA0E0B6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85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B3D3D9-4E70-42AF-A291-3A1582039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D868B3-6C17-45E9-B378-F51B52961B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24945D-9B54-4BD3-A937-5275842B65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0CDAD5-44CF-486D-9217-187F52E9E3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A455B5-39E4-4923-B0F1-A58E66A283E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E228C9-48CE-40C2-803C-143F47FAC9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55E8-FCF0-4C64-AECF-C45C4DCC4707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E6EF538-5B3D-4071-AB8B-7A9CAFB88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563EA1-98C5-41A3-B7E7-4718534E3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07A76-7DB4-4256-8149-66FFAA0E0B6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2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F491D7-7355-4074-9807-BEF3D324B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AAD3C2-6FB1-4330-A421-C4442C4F6F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55E8-FCF0-4C64-AECF-C45C4DCC4707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91F438-5DAB-4AC4-B283-296C7509AA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E91696-D737-4EFF-A2AA-83F301B984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07A76-7DB4-4256-8149-66FFAA0E0B6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736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ECFDB8-C74E-44CB-BC67-3C6F2E3651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55E8-FCF0-4C64-AECF-C45C4DCC4707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2F21A-4934-4C5C-B05B-DE6368647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FFD24-70CF-4807-9E9E-0C7C4F0C46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07A76-7DB4-4256-8149-66FFAA0E0B6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2584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20694D-62FB-48C8-A29B-45838AFFB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B3066A-90B9-464B-BF79-2A177F2A6B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58CEF7-17A9-474D-A8FB-8652D39829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943284-85A8-4D45-A7BF-B59D07C377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55E8-FCF0-4C64-AECF-C45C4DCC4707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0BE6EF-488B-4667-86E9-242B48749C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56C62B-2BAC-414D-B66A-76C709601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07A76-7DB4-4256-8149-66FFAA0E0B6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0863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97CAB-8B0F-4026-8DF4-84D55452C9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4D9FEC-F628-4FA1-9737-4EC3031FAE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CF3E69-6486-4C6B-8252-0489E5F6F1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41B7F3-04F2-4C99-9CA9-6911B989FA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55E8-FCF0-4C64-AECF-C45C4DCC4707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3894CA-2A3A-4A0D-8795-69CF86BDD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B201CD-AD46-4E92-9604-A982F89B9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07A76-7DB4-4256-8149-66FFAA0E0B6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480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7083844-89FE-4338-809F-3E22ED7FD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FF72A7-2CD0-4F1F-A2AC-9819A95624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439D74-CB2C-4266-A583-5D5F10ADFE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6055E8-FCF0-4C64-AECF-C45C4DCC4707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6996D9-9A5F-4AD6-82CF-3DD415C4CF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395946-C926-457A-B12E-9A30324953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E07A76-7DB4-4256-8149-66FFAA0E0B6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270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jp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B3568CB-4C0D-4695-8775-23EC1216412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b="1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277656C9-DE57-4A14-8266-88DE83705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615" y="99848"/>
            <a:ext cx="8613596" cy="520458"/>
          </a:xfrm>
        </p:spPr>
        <p:txBody>
          <a:bodyPr/>
          <a:lstStyle/>
          <a:p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rPr>
              <a:t>Apresentação Pessoal</a:t>
            </a:r>
          </a:p>
        </p:txBody>
      </p:sp>
      <p:sp>
        <p:nvSpPr>
          <p:cNvPr id="25" name="AutoShape 2" descr="Image result for smart icon">
            <a:extLst>
              <a:ext uri="{FF2B5EF4-FFF2-40B4-BE49-F238E27FC236}">
                <a16:creationId xmlns:a16="http://schemas.microsoft.com/office/drawing/2014/main" id="{DBFB428E-02B3-45C9-8681-3D278BDFE51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5575" y="401457"/>
            <a:ext cx="304800" cy="304801"/>
          </a:xfrm>
          <a:prstGeom prst="rect">
            <a:avLst/>
          </a:prstGeom>
          <a:noFill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26" name="AutoShape 4" descr="Image result for smart icon">
            <a:extLst>
              <a:ext uri="{FF2B5EF4-FFF2-40B4-BE49-F238E27FC236}">
                <a16:creationId xmlns:a16="http://schemas.microsoft.com/office/drawing/2014/main" id="{9C4FC562-4B2A-4C12-AA98-C0018845E38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5575" y="401457"/>
            <a:ext cx="304800" cy="304801"/>
          </a:xfrm>
          <a:prstGeom prst="rect">
            <a:avLst/>
          </a:prstGeom>
          <a:noFill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27" name="AutoShape 8" descr="Image result for interface icon">
            <a:extLst>
              <a:ext uri="{FF2B5EF4-FFF2-40B4-BE49-F238E27FC236}">
                <a16:creationId xmlns:a16="http://schemas.microsoft.com/office/drawing/2014/main" id="{FE432FA6-5F09-4961-9D46-CA90D86E827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5575" y="401457"/>
            <a:ext cx="304800" cy="304801"/>
          </a:xfrm>
          <a:prstGeom prst="rect">
            <a:avLst/>
          </a:prstGeom>
          <a:noFill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28" name="Conector reto 2">
            <a:extLst>
              <a:ext uri="{FF2B5EF4-FFF2-40B4-BE49-F238E27FC236}">
                <a16:creationId xmlns:a16="http://schemas.microsoft.com/office/drawing/2014/main" id="{5937BAA2-9990-4CCF-A616-8A90549987A8}"/>
              </a:ext>
            </a:extLst>
          </p:cNvPr>
          <p:cNvCxnSpPr>
            <a:cxnSpLocks/>
          </p:cNvCxnSpPr>
          <p:nvPr/>
        </p:nvCxnSpPr>
        <p:spPr>
          <a:xfrm>
            <a:off x="208084" y="673900"/>
            <a:ext cx="4597052" cy="0"/>
          </a:xfrm>
          <a:prstGeom prst="line">
            <a:avLst/>
          </a:prstGeom>
          <a:ln w="12700">
            <a:solidFill>
              <a:srgbClr val="FFC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tângulo 14">
            <a:extLst>
              <a:ext uri="{FF2B5EF4-FFF2-40B4-BE49-F238E27FC236}">
                <a16:creationId xmlns:a16="http://schemas.microsoft.com/office/drawing/2014/main" id="{36DB1C41-33BF-4B1C-B34E-8CA4572FEA3E}"/>
              </a:ext>
            </a:extLst>
          </p:cNvPr>
          <p:cNvSpPr/>
          <p:nvPr/>
        </p:nvSpPr>
        <p:spPr>
          <a:xfrm>
            <a:off x="813522" y="3583343"/>
            <a:ext cx="901605" cy="311924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pt-BR" sz="1050" b="1" dirty="0">
                <a:solidFill>
                  <a:prstClr val="white"/>
                </a:solidFill>
                <a:latin typeface="Century Gothic"/>
              </a:rPr>
              <a:t>Jaqueline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432D084A-8416-4E6E-8E99-2B86450EA4F0}"/>
              </a:ext>
            </a:extLst>
          </p:cNvPr>
          <p:cNvSpPr/>
          <p:nvPr/>
        </p:nvSpPr>
        <p:spPr>
          <a:xfrm>
            <a:off x="3460913" y="4709023"/>
            <a:ext cx="4219895" cy="1496422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F3DA2F9B-D42F-4F79-941B-E69F7426A8C7}"/>
              </a:ext>
            </a:extLst>
          </p:cNvPr>
          <p:cNvSpPr txBox="1"/>
          <p:nvPr/>
        </p:nvSpPr>
        <p:spPr>
          <a:xfrm>
            <a:off x="5568768" y="5653803"/>
            <a:ext cx="164481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pt-BR" sz="1050" b="1" dirty="0">
                <a:solidFill>
                  <a:prstClr val="white">
                    <a:lumMod val="50000"/>
                  </a:prstClr>
                </a:solidFill>
                <a:latin typeface="Century Gothic" pitchFamily="34" charset="0"/>
              </a:rPr>
              <a:t>Estagiaria em Auditoria fiscal</a:t>
            </a: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8EEF07D5-9027-47DC-B895-45685546D73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43" t="32663" r="29943" b="39389"/>
          <a:stretch/>
        </p:blipFill>
        <p:spPr>
          <a:xfrm>
            <a:off x="5999971" y="5259711"/>
            <a:ext cx="782405" cy="285965"/>
          </a:xfrm>
          <a:prstGeom prst="rect">
            <a:avLst/>
          </a:prstGeom>
        </p:spPr>
      </p:pic>
      <p:sp>
        <p:nvSpPr>
          <p:cNvPr id="155" name="TextBox 154">
            <a:extLst>
              <a:ext uri="{FF2B5EF4-FFF2-40B4-BE49-F238E27FC236}">
                <a16:creationId xmlns:a16="http://schemas.microsoft.com/office/drawing/2014/main" id="{84198BB7-6F14-4C6F-A742-E907B59F2B0C}"/>
              </a:ext>
            </a:extLst>
          </p:cNvPr>
          <p:cNvSpPr txBox="1"/>
          <p:nvPr/>
        </p:nvSpPr>
        <p:spPr>
          <a:xfrm>
            <a:off x="2398658" y="1287530"/>
            <a:ext cx="2564628" cy="165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80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pt-BR" sz="1050" dirty="0">
                <a:solidFill>
                  <a:prstClr val="black"/>
                </a:solidFill>
                <a:latin typeface="Century Gothic"/>
              </a:rPr>
              <a:t>Curso Básico de Power BI(2021)</a:t>
            </a:r>
          </a:p>
          <a:p>
            <a:pPr marL="171450" indent="-171450" defTabSz="68580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pt-BR" sz="1050" dirty="0">
                <a:solidFill>
                  <a:prstClr val="black"/>
                </a:solidFill>
                <a:latin typeface="Century Gothic"/>
              </a:rPr>
              <a:t>Conceitos de Experiência do usuário(2022)</a:t>
            </a:r>
          </a:p>
          <a:p>
            <a:pPr marL="171450" indent="-171450" defTabSz="68580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pt-BR" sz="1050" dirty="0">
                <a:solidFill>
                  <a:prstClr val="black"/>
                </a:solidFill>
                <a:latin typeface="Century Gothic"/>
              </a:rPr>
              <a:t>Graduanda em Ciência da Computação(previsão </a:t>
            </a:r>
            <a:r>
              <a:rPr lang="pt-BR" sz="1050" dirty="0" err="1">
                <a:solidFill>
                  <a:prstClr val="black"/>
                </a:solidFill>
                <a:latin typeface="Century Gothic"/>
              </a:rPr>
              <a:t>ago</a:t>
            </a:r>
            <a:r>
              <a:rPr lang="pt-BR" sz="1050" dirty="0">
                <a:solidFill>
                  <a:prstClr val="black"/>
                </a:solidFill>
                <a:latin typeface="Century Gothic"/>
              </a:rPr>
              <a:t>/2022)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C5BDF868-7352-48DF-BA32-B88323F006E0}"/>
              </a:ext>
            </a:extLst>
          </p:cNvPr>
          <p:cNvSpPr txBox="1"/>
          <p:nvPr/>
        </p:nvSpPr>
        <p:spPr>
          <a:xfrm>
            <a:off x="2577333" y="923712"/>
            <a:ext cx="1955572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ct val="150000"/>
              </a:lnSpc>
              <a:defRPr/>
            </a:pPr>
            <a:r>
              <a:rPr lang="pt-BR" sz="1350" b="1">
                <a:solidFill>
                  <a:srgbClr val="DA042C"/>
                </a:solidFill>
                <a:latin typeface="Century Gothic"/>
              </a:rPr>
              <a:t>Formação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D1C0109C-CC39-4ABD-93F8-743A956E863E}"/>
              </a:ext>
            </a:extLst>
          </p:cNvPr>
          <p:cNvSpPr txBox="1"/>
          <p:nvPr/>
        </p:nvSpPr>
        <p:spPr>
          <a:xfrm>
            <a:off x="5166031" y="925297"/>
            <a:ext cx="1955572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ct val="150000"/>
              </a:lnSpc>
              <a:defRPr/>
            </a:pPr>
            <a:r>
              <a:rPr lang="pt-BR" sz="1350" b="1" dirty="0">
                <a:solidFill>
                  <a:srgbClr val="DA042C"/>
                </a:solidFill>
                <a:latin typeface="Century Gothic"/>
              </a:rPr>
              <a:t>#AlémDosRótulo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6D1CC641-332A-4F17-8F58-7F960531737F}"/>
              </a:ext>
            </a:extLst>
          </p:cNvPr>
          <p:cNvSpPr txBox="1"/>
          <p:nvPr/>
        </p:nvSpPr>
        <p:spPr>
          <a:xfrm>
            <a:off x="9985488" y="901700"/>
            <a:ext cx="1955572" cy="363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ct val="150000"/>
              </a:lnSpc>
              <a:defRPr/>
            </a:pPr>
            <a:r>
              <a:rPr lang="pt-BR" sz="1350" b="1" dirty="0">
                <a:solidFill>
                  <a:srgbClr val="DA042C"/>
                </a:solidFill>
                <a:latin typeface="Century Gothic"/>
              </a:rPr>
              <a:t>Bebida preferida</a:t>
            </a: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74F4D66B-CD1A-40E5-B5C9-7A4AF59B613F}"/>
              </a:ext>
            </a:extLst>
          </p:cNvPr>
          <p:cNvCxnSpPr>
            <a:cxnSpLocks/>
          </p:cNvCxnSpPr>
          <p:nvPr/>
        </p:nvCxnSpPr>
        <p:spPr>
          <a:xfrm>
            <a:off x="5109435" y="1014720"/>
            <a:ext cx="0" cy="324000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3C08D439-C6D7-4CE9-9E82-09D0412EFCB9}"/>
              </a:ext>
            </a:extLst>
          </p:cNvPr>
          <p:cNvCxnSpPr>
            <a:cxnSpLocks/>
          </p:cNvCxnSpPr>
          <p:nvPr/>
        </p:nvCxnSpPr>
        <p:spPr>
          <a:xfrm>
            <a:off x="9782742" y="1014720"/>
            <a:ext cx="0" cy="324000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TextBox 160">
            <a:extLst>
              <a:ext uri="{FF2B5EF4-FFF2-40B4-BE49-F238E27FC236}">
                <a16:creationId xmlns:a16="http://schemas.microsoft.com/office/drawing/2014/main" id="{8C864CC1-A6AA-4C46-A231-AD59E791A919}"/>
              </a:ext>
            </a:extLst>
          </p:cNvPr>
          <p:cNvSpPr txBox="1"/>
          <p:nvPr/>
        </p:nvSpPr>
        <p:spPr>
          <a:xfrm>
            <a:off x="246440" y="3873719"/>
            <a:ext cx="2137124" cy="253916"/>
          </a:xfrm>
          <a:prstGeom prst="rect">
            <a:avLst/>
          </a:prstGeom>
          <a:solidFill>
            <a:srgbClr val="DA042C"/>
          </a:solidFill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pt-BR" sz="1050" b="1" dirty="0">
                <a:solidFill>
                  <a:prstClr val="white"/>
                </a:solidFill>
                <a:latin typeface="Century Gothic"/>
              </a:rPr>
              <a:t>Estagiaria de </a:t>
            </a:r>
            <a:r>
              <a:rPr lang="pt-BR" sz="1050" b="1" dirty="0" err="1">
                <a:solidFill>
                  <a:prstClr val="white"/>
                </a:solidFill>
                <a:latin typeface="Century Gothic"/>
              </a:rPr>
              <a:t>Tax</a:t>
            </a:r>
            <a:r>
              <a:rPr lang="pt-BR" sz="1050" b="1" dirty="0">
                <a:solidFill>
                  <a:prstClr val="white"/>
                </a:solidFill>
                <a:latin typeface="Century Gothic"/>
              </a:rPr>
              <a:t> Compliance</a:t>
            </a:r>
          </a:p>
        </p:txBody>
      </p:sp>
      <p:sp>
        <p:nvSpPr>
          <p:cNvPr id="162" name="Rectangle: Rounded Corners 161">
            <a:extLst>
              <a:ext uri="{FF2B5EF4-FFF2-40B4-BE49-F238E27FC236}">
                <a16:creationId xmlns:a16="http://schemas.microsoft.com/office/drawing/2014/main" id="{F62824F7-8F12-460D-90B1-2AF73D8FC808}"/>
              </a:ext>
            </a:extLst>
          </p:cNvPr>
          <p:cNvSpPr/>
          <p:nvPr/>
        </p:nvSpPr>
        <p:spPr>
          <a:xfrm>
            <a:off x="2676803" y="3071048"/>
            <a:ext cx="2078071" cy="280928"/>
          </a:xfrm>
          <a:prstGeom prst="roundRect">
            <a:avLst/>
          </a:prstGeom>
          <a:solidFill>
            <a:srgbClr val="DA042C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050" b="1" i="0" dirty="0">
                <a:solidFill>
                  <a:schemeClr val="bg1"/>
                </a:solidFill>
                <a:effectLst/>
                <a:latin typeface="Lato" panose="020B0604020202020204" pitchFamily="34" charset="0"/>
              </a:rPr>
              <a:t>Sonhamos grande</a:t>
            </a:r>
            <a:endParaRPr lang="en-US" sz="1050" b="1" dirty="0">
              <a:solidFill>
                <a:schemeClr val="bg1"/>
              </a:solidFill>
              <a:latin typeface="Century Gothic"/>
            </a:endParaRPr>
          </a:p>
        </p:txBody>
      </p:sp>
      <p:sp>
        <p:nvSpPr>
          <p:cNvPr id="163" name="Rectangle: Rounded Corners 162">
            <a:extLst>
              <a:ext uri="{FF2B5EF4-FFF2-40B4-BE49-F238E27FC236}">
                <a16:creationId xmlns:a16="http://schemas.microsoft.com/office/drawing/2014/main" id="{470A2F4D-4A60-431F-AAAD-12D806E7F5B7}"/>
              </a:ext>
            </a:extLst>
          </p:cNvPr>
          <p:cNvSpPr/>
          <p:nvPr/>
        </p:nvSpPr>
        <p:spPr>
          <a:xfrm>
            <a:off x="2681056" y="3942086"/>
            <a:ext cx="2049420" cy="459700"/>
          </a:xfrm>
          <a:prstGeom prst="roundRect">
            <a:avLst/>
          </a:prstGeom>
          <a:solidFill>
            <a:srgbClr val="DA042C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050" b="1" i="0" dirty="0">
                <a:solidFill>
                  <a:schemeClr val="bg1"/>
                </a:solidFill>
                <a:effectLst/>
                <a:latin typeface="Lato" panose="020F0502020204030203" pitchFamily="34" charset="0"/>
              </a:rPr>
              <a:t>Sempre buscamos melhores resultados</a:t>
            </a:r>
            <a:endParaRPr lang="en-US" sz="1050" b="1" dirty="0">
              <a:solidFill>
                <a:schemeClr val="bg1"/>
              </a:solidFill>
              <a:latin typeface="Century Gothic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5FF1DCC2-659E-4371-84C0-B23B38E1921B}"/>
              </a:ext>
            </a:extLst>
          </p:cNvPr>
          <p:cNvSpPr txBox="1"/>
          <p:nvPr/>
        </p:nvSpPr>
        <p:spPr>
          <a:xfrm>
            <a:off x="5999971" y="4863156"/>
            <a:ext cx="1384789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825" b="1" dirty="0">
                <a:solidFill>
                  <a:prstClr val="white">
                    <a:lumMod val="50000"/>
                  </a:prstClr>
                </a:solidFill>
                <a:latin typeface="Century Gothic" pitchFamily="34" charset="0"/>
              </a:rPr>
              <a:t>2021 / 2022</a:t>
            </a:r>
            <a:endParaRPr lang="en-US" sz="825" b="1" dirty="0">
              <a:solidFill>
                <a:prstClr val="white">
                  <a:lumMod val="50000"/>
                </a:prstClr>
              </a:solidFill>
              <a:latin typeface="Century Gothic" pitchFamily="34" charset="0"/>
            </a:endParaRPr>
          </a:p>
        </p:txBody>
      </p:sp>
      <p:sp>
        <p:nvSpPr>
          <p:cNvPr id="167" name="Rectangle: Rounded Corners 166">
            <a:extLst>
              <a:ext uri="{FF2B5EF4-FFF2-40B4-BE49-F238E27FC236}">
                <a16:creationId xmlns:a16="http://schemas.microsoft.com/office/drawing/2014/main" id="{336BED76-6363-4491-8200-24DE1CB86218}"/>
              </a:ext>
            </a:extLst>
          </p:cNvPr>
          <p:cNvSpPr/>
          <p:nvPr/>
        </p:nvSpPr>
        <p:spPr>
          <a:xfrm>
            <a:off x="2676802" y="3397303"/>
            <a:ext cx="2076862" cy="459700"/>
          </a:xfrm>
          <a:prstGeom prst="roundRect">
            <a:avLst/>
          </a:prstGeom>
          <a:solidFill>
            <a:srgbClr val="DA042C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050" b="1" i="0" dirty="0">
                <a:solidFill>
                  <a:schemeClr val="bg1"/>
                </a:solidFill>
                <a:effectLst/>
                <a:latin typeface="Lato" panose="020F0502020204030203" pitchFamily="34" charset="0"/>
              </a:rPr>
              <a:t>Acreditamos no bom senso e na simplicidade</a:t>
            </a:r>
            <a:endParaRPr lang="en-US" sz="1050" b="1" dirty="0">
              <a:solidFill>
                <a:schemeClr val="bg1"/>
              </a:solidFill>
              <a:latin typeface="Century Gothic"/>
            </a:endParaRPr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B6F8C6CE-A642-4AA4-A49C-FEC19BAEE0B0}"/>
              </a:ext>
            </a:extLst>
          </p:cNvPr>
          <p:cNvCxnSpPr>
            <a:cxnSpLocks/>
          </p:cNvCxnSpPr>
          <p:nvPr/>
        </p:nvCxnSpPr>
        <p:spPr>
          <a:xfrm>
            <a:off x="4309792" y="5176778"/>
            <a:ext cx="1947134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TextBox 168">
            <a:extLst>
              <a:ext uri="{FF2B5EF4-FFF2-40B4-BE49-F238E27FC236}">
                <a16:creationId xmlns:a16="http://schemas.microsoft.com/office/drawing/2014/main" id="{CD7E782C-75AC-44C5-9EDA-EE1A9BD44AE8}"/>
              </a:ext>
            </a:extLst>
          </p:cNvPr>
          <p:cNvSpPr txBox="1"/>
          <p:nvPr/>
        </p:nvSpPr>
        <p:spPr>
          <a:xfrm>
            <a:off x="3936398" y="4858993"/>
            <a:ext cx="79407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pt-BR" sz="825" b="1" dirty="0">
                <a:solidFill>
                  <a:prstClr val="white">
                    <a:lumMod val="50000"/>
                  </a:prstClr>
                </a:solidFill>
                <a:latin typeface="Century Gothic" pitchFamily="34" charset="0"/>
              </a:rPr>
              <a:t>2018 /  2019</a:t>
            </a:r>
            <a:endParaRPr lang="en-US" sz="825" b="1" dirty="0">
              <a:solidFill>
                <a:prstClr val="white">
                  <a:lumMod val="50000"/>
                </a:prstClr>
              </a:solidFill>
              <a:latin typeface="Century Gothic" pitchFamily="34" charset="0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9183B00B-04C9-4DD2-8492-1AAD6A091FEB}"/>
              </a:ext>
            </a:extLst>
          </p:cNvPr>
          <p:cNvSpPr txBox="1"/>
          <p:nvPr/>
        </p:nvSpPr>
        <p:spPr>
          <a:xfrm>
            <a:off x="3460913" y="5621311"/>
            <a:ext cx="135311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pt-BR" sz="1050" b="1" dirty="0">
                <a:solidFill>
                  <a:prstClr val="white">
                    <a:lumMod val="50000"/>
                  </a:prstClr>
                </a:solidFill>
                <a:latin typeface="Century Gothic" pitchFamily="34" charset="0"/>
              </a:rPr>
              <a:t>Estagiaria de Suporte técnico</a:t>
            </a:r>
            <a:endParaRPr lang="en-US" sz="1050" b="1" dirty="0">
              <a:solidFill>
                <a:prstClr val="white">
                  <a:lumMod val="50000"/>
                </a:prstClr>
              </a:solidFill>
              <a:latin typeface="Century Gothic" pitchFamily="34" charset="0"/>
            </a:endParaRPr>
          </a:p>
        </p:txBody>
      </p:sp>
      <p:pic>
        <p:nvPicPr>
          <p:cNvPr id="3" name="Imagem 2" descr="Menina de cabelos longos sorrindo&#10;&#10;Descrição gerada automaticamente com confiança média">
            <a:extLst>
              <a:ext uri="{FF2B5EF4-FFF2-40B4-BE49-F238E27FC236}">
                <a16:creationId xmlns:a16="http://schemas.microsoft.com/office/drawing/2014/main" id="{24674821-D246-48D6-AA1D-07BBCDEF46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22" y="1161633"/>
            <a:ext cx="1859340" cy="1899169"/>
          </a:xfrm>
          <a:prstGeom prst="rect">
            <a:avLst/>
          </a:prstGeom>
        </p:spPr>
      </p:pic>
      <p:pic>
        <p:nvPicPr>
          <p:cNvPr id="2050" name="Picture 2" descr="Logo da Netflix - PNG e Vetor para download gratuito - EPS e SVG">
            <a:extLst>
              <a:ext uri="{FF2B5EF4-FFF2-40B4-BE49-F238E27FC236}">
                <a16:creationId xmlns:a16="http://schemas.microsoft.com/office/drawing/2014/main" id="{A560F7AA-5981-477E-B850-F4CB0012EE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9447" y="1389736"/>
            <a:ext cx="1497250" cy="842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Refrigerante Guaraná ANTARCTICA Sem Açúcar Lata 350ML">
            <a:extLst>
              <a:ext uri="{FF2B5EF4-FFF2-40B4-BE49-F238E27FC236}">
                <a16:creationId xmlns:a16="http://schemas.microsoft.com/office/drawing/2014/main" id="{07736BB0-E7B4-4EE7-962C-795454163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160" y="1462812"/>
            <a:ext cx="1326214" cy="2361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Universidade Estadual de Campinas – Wikipédia, a enciclopédia livre">
            <a:extLst>
              <a:ext uri="{FF2B5EF4-FFF2-40B4-BE49-F238E27FC236}">
                <a16:creationId xmlns:a16="http://schemas.microsoft.com/office/drawing/2014/main" id="{81E3DFBA-817E-4EC3-B5A3-E4ABD8DFC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504" y="5186411"/>
            <a:ext cx="391933" cy="415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0678C9A7-70BD-4FD8-ADDE-7575CC9DE8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0808" y="1211755"/>
            <a:ext cx="1359496" cy="1496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A704016F-DBB4-4B7D-9761-DE6D9C58692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73423" y="2700013"/>
            <a:ext cx="1343274" cy="1792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444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9AE2756-0FC4-4155-83E7-58AAAB63E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65689" y="477749"/>
            <a:ext cx="0" cy="3657600"/>
          </a:xfrm>
          <a:prstGeom prst="line">
            <a:avLst/>
          </a:prstGeom>
          <a:ln w="101600" cmpd="dbl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247AB924-1B87-43FC-B7C7-B112D5C51A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78068" y="4633546"/>
            <a:ext cx="11438793" cy="1844256"/>
          </a:xfrm>
          <a:prstGeom prst="rect">
            <a:avLst/>
          </a:prstGeom>
          <a:solidFill>
            <a:srgbClr val="404040"/>
          </a:solidFill>
          <a:ln w="127000" cap="sq" cmpd="thinThick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5126373-7489-426E-8D36-FE9C42987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538" y="4756638"/>
            <a:ext cx="11139854" cy="93044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5400" dirty="0" err="1">
                <a:solidFill>
                  <a:srgbClr val="FFFFFF"/>
                </a:solidFill>
              </a:rPr>
              <a:t>Projetos</a:t>
            </a:r>
            <a:r>
              <a:rPr lang="en-US" sz="5400" dirty="0">
                <a:solidFill>
                  <a:srgbClr val="FFFFFF"/>
                </a:solidFill>
              </a:rPr>
              <a:t> de </a:t>
            </a:r>
            <a:r>
              <a:rPr lang="en-US" sz="5400" dirty="0" err="1">
                <a:solidFill>
                  <a:srgbClr val="FFFFFF"/>
                </a:solidFill>
              </a:rPr>
              <a:t>Impacto</a:t>
            </a:r>
            <a:endParaRPr lang="en-US" sz="5400" dirty="0">
              <a:solidFill>
                <a:srgbClr val="FFFFFF"/>
              </a:solidFill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6311BE98-5355-495A-95AA-C79DBD87FB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9395" y="1651254"/>
            <a:ext cx="3425609" cy="1901213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FD201394-DF42-4445-8979-E7EA1BAD5E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5708" y="1567877"/>
            <a:ext cx="3433324" cy="1905495"/>
          </a:xfrm>
          <a:prstGeom prst="rect">
            <a:avLst/>
          </a:prstGeom>
        </p:spPr>
      </p:pic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18DC98F-4057-4645-B948-F604F39A9C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153400" y="477749"/>
            <a:ext cx="0" cy="3657600"/>
          </a:xfrm>
          <a:prstGeom prst="line">
            <a:avLst/>
          </a:prstGeom>
          <a:ln w="101600" cmpd="dbl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m 4" descr="Interface gráfica do usuário, Aplicativo, PowerPoint&#10;&#10;Descrição gerada automaticamente">
            <a:extLst>
              <a:ext uri="{FF2B5EF4-FFF2-40B4-BE49-F238E27FC236}">
                <a16:creationId xmlns:a16="http://schemas.microsoft.com/office/drawing/2014/main" id="{3733F2C1-324F-45A0-9920-AA60F881AC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8068" y="1617505"/>
            <a:ext cx="3423916" cy="1900273"/>
          </a:xfrm>
          <a:prstGeom prst="rect">
            <a:avLst/>
          </a:prstGeom>
        </p:spPr>
      </p:pic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AD2B705-4A9B-408D-AA80-4F41045E09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2209800" y="5738691"/>
            <a:ext cx="7772400" cy="0"/>
          </a:xfrm>
          <a:prstGeom prst="line">
            <a:avLst/>
          </a:prstGeom>
          <a:ln w="222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3EA7007D-2D46-453F-BF43-456CECA32B0D}"/>
              </a:ext>
            </a:extLst>
          </p:cNvPr>
          <p:cNvSpPr txBox="1"/>
          <p:nvPr/>
        </p:nvSpPr>
        <p:spPr>
          <a:xfrm>
            <a:off x="4846812" y="939701"/>
            <a:ext cx="23907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Dashboard Gerencial</a:t>
            </a:r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D123A0A4-F1B7-492B-A4A8-63B7D7581327}"/>
              </a:ext>
            </a:extLst>
          </p:cNvPr>
          <p:cNvSpPr txBox="1"/>
          <p:nvPr/>
        </p:nvSpPr>
        <p:spPr>
          <a:xfrm>
            <a:off x="8388873" y="856232"/>
            <a:ext cx="434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Dashboard Cronograma Comitê</a:t>
            </a: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24692A96-29DB-46D4-8A8F-EA3CEADC8751}"/>
              </a:ext>
            </a:extLst>
          </p:cNvPr>
          <p:cNvSpPr txBox="1"/>
          <p:nvPr/>
        </p:nvSpPr>
        <p:spPr>
          <a:xfrm>
            <a:off x="685060" y="927526"/>
            <a:ext cx="23907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Dashboard Log de Erros</a:t>
            </a:r>
          </a:p>
        </p:txBody>
      </p:sp>
    </p:spTree>
    <p:extLst>
      <p:ext uri="{BB962C8B-B14F-4D97-AF65-F5344CB8AC3E}">
        <p14:creationId xmlns:p14="http://schemas.microsoft.com/office/powerpoint/2010/main" val="4084356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pNbAyJBYxkDi_7kcjz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eYpTgBt_en1fu9gWg9t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1</TotalTime>
  <Words>79</Words>
  <Application>Microsoft Office PowerPoint</Application>
  <PresentationFormat>Widescreen</PresentationFormat>
  <Paragraphs>21</Paragraphs>
  <Slides>2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Light</vt:lpstr>
      <vt:lpstr>Century Gothic</vt:lpstr>
      <vt:lpstr>Lato</vt:lpstr>
      <vt:lpstr>Office Theme</vt:lpstr>
      <vt:lpstr>think-cell Slide</vt:lpstr>
      <vt:lpstr>Apresentação Pessoal</vt:lpstr>
      <vt:lpstr>Projetos de Impact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Pessoal</dc:title>
  <dc:creator>Barbara Vencchi Beloti</dc:creator>
  <cp:lastModifiedBy>Jaqueline Cristina Lizardo Joaquim (OP)</cp:lastModifiedBy>
  <cp:revision>11</cp:revision>
  <dcterms:created xsi:type="dcterms:W3CDTF">2022-06-07T16:54:22Z</dcterms:created>
  <dcterms:modified xsi:type="dcterms:W3CDTF">2022-06-30T20:47:12Z</dcterms:modified>
</cp:coreProperties>
</file>